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33.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35.xml" ContentType="application/vnd.openxmlformats-officedocument.presentationml.tags+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36.xml" ContentType="application/vnd.openxmlformats-officedocument.presentationml.tags+xml"/>
  <Override PartName="/ppt/charts/chart8.xml" ContentType="application/vnd.openxmlformats-officedocument.drawingml.chart+xml"/>
  <Override PartName="/ppt/tags/tag37.xml" ContentType="application/vnd.openxmlformats-officedocument.presentationml.tags+xml"/>
  <Override PartName="/ppt/charts/chart9.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41.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42.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3.xml" ContentType="application/vnd.openxmlformats-officedocument.presentationml.tags+xml"/>
  <Override PartName="/ppt/charts/chart22.xml" ContentType="application/vnd.openxmlformats-officedocument.drawingml.chart+xml"/>
  <Override PartName="/ppt/charts/style7.xml" ContentType="application/vnd.ms-office.chartstyle+xml"/>
  <Override PartName="/ppt/charts/colors7.xml" ContentType="application/vnd.ms-office.chartcolorstyle+xml"/>
  <Override PartName="/ppt/tags/tag44.xml" ContentType="application/vnd.openxmlformats-officedocument.presentationml.tags+xml"/>
  <Override PartName="/ppt/charts/chart23.xml" ContentType="application/vnd.openxmlformats-officedocument.drawingml.chart+xml"/>
  <Override PartName="/ppt/charts/style8.xml" ContentType="application/vnd.ms-office.chartstyle+xml"/>
  <Override PartName="/ppt/charts/colors8.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2"/>
  </p:notesMasterIdLst>
  <p:sldIdLst>
    <p:sldId id="2147378824" r:id="rId5"/>
    <p:sldId id="2147475134" r:id="rId6"/>
    <p:sldId id="2147475146" r:id="rId7"/>
    <p:sldId id="2147475147" r:id="rId8"/>
    <p:sldId id="2147477347" r:id="rId9"/>
    <p:sldId id="2147477346" r:id="rId10"/>
    <p:sldId id="2147472910" r:id="rId11"/>
    <p:sldId id="2147475118" r:id="rId12"/>
    <p:sldId id="2147473876" r:id="rId13"/>
    <p:sldId id="2147475133" r:id="rId14"/>
    <p:sldId id="2147477358" r:id="rId15"/>
    <p:sldId id="2147477359" r:id="rId16"/>
    <p:sldId id="2147477360" r:id="rId17"/>
    <p:sldId id="2147477361" r:id="rId18"/>
    <p:sldId id="2147477362" r:id="rId19"/>
    <p:sldId id="2147477363" r:id="rId20"/>
    <p:sldId id="2147477364" r:id="rId2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3" d="100"/>
          <a:sy n="103" d="100"/>
        </p:scale>
        <p:origin x="15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phie  ZIMMERMANN" userId="a3ccab47-c860-43ce-9c7d-ef7907b0df29" providerId="ADAL" clId="{4314325D-4433-4527-A5B8-00254240609C}"/>
    <pc:docChg chg="custSel modSld">
      <pc:chgData name="Sophie  ZIMMERMANN" userId="a3ccab47-c860-43ce-9c7d-ef7907b0df29" providerId="ADAL" clId="{4314325D-4433-4527-A5B8-00254240609C}" dt="2024-11-01T08:17:47.742" v="298" actId="1037"/>
      <pc:docMkLst>
        <pc:docMk/>
      </pc:docMkLst>
      <pc:sldChg chg="delSp modSp mod">
        <pc:chgData name="Sophie  ZIMMERMANN" userId="a3ccab47-c860-43ce-9c7d-ef7907b0df29" providerId="ADAL" clId="{4314325D-4433-4527-A5B8-00254240609C}" dt="2024-11-01T08:17:47.742" v="298" actId="1037"/>
        <pc:sldMkLst>
          <pc:docMk/>
          <pc:sldMk cId="435966349" sldId="2147475142"/>
        </pc:sldMkLst>
        <pc:spChg chg="mod">
          <ac:chgData name="Sophie  ZIMMERMANN" userId="a3ccab47-c860-43ce-9c7d-ef7907b0df29" providerId="ADAL" clId="{4314325D-4433-4527-A5B8-00254240609C}" dt="2024-11-01T08:17:47.742" v="298" actId="1037"/>
          <ac:spMkLst>
            <pc:docMk/>
            <pc:sldMk cId="435966349" sldId="2147475142"/>
            <ac:spMk id="7" creationId="{7DAAFD34-D311-196F-D318-B7CBB2FC55F1}"/>
          </ac:spMkLst>
        </pc:spChg>
        <pc:spChg chg="mod">
          <ac:chgData name="Sophie  ZIMMERMANN" userId="a3ccab47-c860-43ce-9c7d-ef7907b0df29" providerId="ADAL" clId="{4314325D-4433-4527-A5B8-00254240609C}" dt="2024-11-01T08:09:44.237" v="264" actId="3064"/>
          <ac:spMkLst>
            <pc:docMk/>
            <pc:sldMk cId="435966349" sldId="2147475142"/>
            <ac:spMk id="11" creationId="{BFC1BC53-B2B2-88E8-FF22-46D4B5DF9712}"/>
          </ac:spMkLst>
        </pc:spChg>
        <pc:spChg chg="del">
          <ac:chgData name="Sophie  ZIMMERMANN" userId="a3ccab47-c860-43ce-9c7d-ef7907b0df29" providerId="ADAL" clId="{4314325D-4433-4527-A5B8-00254240609C}" dt="2024-11-01T08:06:30.393" v="36" actId="478"/>
          <ac:spMkLst>
            <pc:docMk/>
            <pc:sldMk cId="435966349" sldId="2147475142"/>
            <ac:spMk id="13" creationId="{5BF3929D-D92C-F9A2-4B40-D265B6BB67FB}"/>
          </ac:spMkLst>
        </pc:spChg>
        <pc:graphicFrameChg chg="mod">
          <ac:chgData name="Sophie  ZIMMERMANN" userId="a3ccab47-c860-43ce-9c7d-ef7907b0df29" providerId="ADAL" clId="{4314325D-4433-4527-A5B8-00254240609C}" dt="2024-11-01T08:08:59.352" v="211" actId="1038"/>
          <ac:graphicFrameMkLst>
            <pc:docMk/>
            <pc:sldMk cId="435966349" sldId="2147475142"/>
            <ac:graphicFrameMk id="3" creationId="{1DC37342-75B7-517B-0FBA-CC602F84C1AA}"/>
          </ac:graphicFrameMkLst>
        </pc:graphicFrameChg>
        <pc:graphicFrameChg chg="mod">
          <ac:chgData name="Sophie  ZIMMERMANN" userId="a3ccab47-c860-43ce-9c7d-ef7907b0df29" providerId="ADAL" clId="{4314325D-4433-4527-A5B8-00254240609C}" dt="2024-11-01T08:06:27.261" v="35" actId="207"/>
          <ac:graphicFrameMkLst>
            <pc:docMk/>
            <pc:sldMk cId="435966349" sldId="2147475142"/>
            <ac:graphicFrameMk id="6" creationId="{4BD8E265-B158-1A09-6C46-4182AF3CD473}"/>
          </ac:graphicFrameMkLst>
        </pc:graphicFrameChg>
      </pc:sldChg>
      <pc:sldChg chg="addSp delSp modSp mod">
        <pc:chgData name="Sophie  ZIMMERMANN" userId="a3ccab47-c860-43ce-9c7d-ef7907b0df29" providerId="ADAL" clId="{4314325D-4433-4527-A5B8-00254240609C}" dt="2024-11-01T08:09:34.754" v="261" actId="3064"/>
        <pc:sldMkLst>
          <pc:docMk/>
          <pc:sldMk cId="388833020" sldId="2147477354"/>
        </pc:sldMkLst>
        <pc:spChg chg="add mod">
          <ac:chgData name="Sophie  ZIMMERMANN" userId="a3ccab47-c860-43ce-9c7d-ef7907b0df29" providerId="ADAL" clId="{4314325D-4433-4527-A5B8-00254240609C}" dt="2024-11-01T08:09:34.754" v="261" actId="3064"/>
          <ac:spMkLst>
            <pc:docMk/>
            <pc:sldMk cId="388833020" sldId="2147477354"/>
            <ac:spMk id="6" creationId="{3FE029EB-0726-DE25-4BB2-E63DB2FC61E7}"/>
          </ac:spMkLst>
        </pc:spChg>
        <pc:spChg chg="mod">
          <ac:chgData name="Sophie  ZIMMERMANN" userId="a3ccab47-c860-43ce-9c7d-ef7907b0df29" providerId="ADAL" clId="{4314325D-4433-4527-A5B8-00254240609C}" dt="2024-11-01T08:03:17.874" v="32" actId="1038"/>
          <ac:spMkLst>
            <pc:docMk/>
            <pc:sldMk cId="388833020" sldId="2147477354"/>
            <ac:spMk id="10" creationId="{2F21E4D4-BECB-5A87-4711-14032D7492F3}"/>
          </ac:spMkLst>
        </pc:spChg>
        <pc:spChg chg="mod">
          <ac:chgData name="Sophie  ZIMMERMANN" userId="a3ccab47-c860-43ce-9c7d-ef7907b0df29" providerId="ADAL" clId="{4314325D-4433-4527-A5B8-00254240609C}" dt="2024-11-01T08:03:15.788" v="30" actId="1038"/>
          <ac:spMkLst>
            <pc:docMk/>
            <pc:sldMk cId="388833020" sldId="2147477354"/>
            <ac:spMk id="11" creationId="{29596734-6143-084A-A989-D15ABEC33874}"/>
          </ac:spMkLst>
        </pc:spChg>
        <pc:spChg chg="mod">
          <ac:chgData name="Sophie  ZIMMERMANN" userId="a3ccab47-c860-43ce-9c7d-ef7907b0df29" providerId="ADAL" clId="{4314325D-4433-4527-A5B8-00254240609C}" dt="2024-11-01T08:02:52.740" v="1" actId="20577"/>
          <ac:spMkLst>
            <pc:docMk/>
            <pc:sldMk cId="388833020" sldId="2147477354"/>
            <ac:spMk id="12" creationId="{6E8C0A4F-20D1-C9BE-33B2-1536980F5F2B}"/>
          </ac:spMkLst>
        </pc:spChg>
        <pc:spChg chg="del">
          <ac:chgData name="Sophie  ZIMMERMANN" userId="a3ccab47-c860-43ce-9c7d-ef7907b0df29" providerId="ADAL" clId="{4314325D-4433-4527-A5B8-00254240609C}" dt="2024-11-01T08:07:25.977" v="60" actId="478"/>
          <ac:spMkLst>
            <pc:docMk/>
            <pc:sldMk cId="388833020" sldId="2147477354"/>
            <ac:spMk id="13" creationId="{57F3CE99-2D24-4C4A-2381-79818FEE40AF}"/>
          </ac:spMkLst>
        </pc:spChg>
        <pc:graphicFrameChg chg="mod">
          <ac:chgData name="Sophie  ZIMMERMANN" userId="a3ccab47-c860-43ce-9c7d-ef7907b0df29" providerId="ADAL" clId="{4314325D-4433-4527-A5B8-00254240609C}" dt="2024-11-01T08:09:04.221" v="229" actId="1038"/>
          <ac:graphicFrameMkLst>
            <pc:docMk/>
            <pc:sldMk cId="388833020" sldId="2147477354"/>
            <ac:graphicFrameMk id="3" creationId="{470EE70F-4EB3-F5FC-7DA9-A5FD61BBAF43}"/>
          </ac:graphicFrameMkLst>
        </pc:graphicFrameChg>
        <pc:graphicFrameChg chg="mod">
          <ac:chgData name="Sophie  ZIMMERMANN" userId="a3ccab47-c860-43ce-9c7d-ef7907b0df29" providerId="ADAL" clId="{4314325D-4433-4527-A5B8-00254240609C}" dt="2024-11-01T08:08:37.368" v="136" actId="1037"/>
          <ac:graphicFrameMkLst>
            <pc:docMk/>
            <pc:sldMk cId="388833020" sldId="2147477354"/>
            <ac:graphicFrameMk id="14" creationId="{EB84C0ED-1820-DC7F-C3F8-BA9338BED815}"/>
          </ac:graphicFrameMkLst>
        </pc:graphicFrameChg>
      </pc:sldChg>
    </pc:docChg>
  </pc:docChgLst>
  <pc:docChgLst>
    <pc:chgData name="Neriman EL HADIDI" userId="4b24840c-84b3-44ac-9131-ca3568cb403b" providerId="ADAL" clId="{49AFDB74-6FD9-4071-ADAD-4F61DD009A87}"/>
    <pc:docChg chg="delMainMaster">
      <pc:chgData name="Neriman EL HADIDI" userId="4b24840c-84b3-44ac-9131-ca3568cb403b" providerId="ADAL" clId="{49AFDB74-6FD9-4071-ADAD-4F61DD009A87}" dt="2024-11-01T08:58:09.464" v="1" actId="2696"/>
      <pc:docMkLst>
        <pc:docMk/>
      </pc:docMkLst>
      <pc:sldMasterChg chg="del">
        <pc:chgData name="Neriman EL HADIDI" userId="4b24840c-84b3-44ac-9131-ca3568cb403b" providerId="ADAL" clId="{49AFDB74-6FD9-4071-ADAD-4F61DD009A87}" dt="2024-11-01T08:57:51.102" v="0" actId="2696"/>
        <pc:sldMasterMkLst>
          <pc:docMk/>
          <pc:sldMasterMk cId="823099819" sldId="2147483792"/>
        </pc:sldMasterMkLst>
      </pc:sldMasterChg>
      <pc:sldMasterChg chg="del">
        <pc:chgData name="Neriman EL HADIDI" userId="4b24840c-84b3-44ac-9131-ca3568cb403b" providerId="ADAL" clId="{49AFDB74-6FD9-4071-ADAD-4F61DD009A87}" dt="2024-11-01T08:58:09.464" v="1" actId="2696"/>
        <pc:sldMasterMkLst>
          <pc:docMk/>
          <pc:sldMasterMk cId="2459112471" sldId="214748384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7.xml"/><Relationship Id="rId1" Type="http://schemas.microsoft.com/office/2011/relationships/chartStyle" Target="style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8.xml"/><Relationship Id="rId1" Type="http://schemas.microsoft.com/office/2011/relationships/chartStyle" Target="style8.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CCC6C3-C1F9-45B7-A1A6-602FCFC5E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A1235C-BD65-4570-B70A-AE8F695C8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3B11D0-7AB0-4451-8346-229F38E00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A42987-DB82-4B42-9F95-4FC116A5B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498CC7-B278-4000-BDB2-BC6C27F49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DEF609-08AF-4D95-BDAF-DA17ACE74A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E4CD41-4ED6-454C-AE07-0F7DE4CE2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C67561-067E-4E8E-9BD0-94AF95A4A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8863A2-039C-41A9-AFF3-F788EEFB7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AA017D-1099-4F4D-AE46-AB8DC2457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859CB9-5C55-4AD0-A651-B0B5162C3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A7FCC5-B393-4A20-A89C-5E72A4DEE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E53615-A491-4A88-AC26-DE24BB2F0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BE5ADB-7BE5-4FF7-A090-D86AD2AC3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692A15-EC1D-4A28-B882-254390776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D5BDFE-11F7-41C3-BD13-5413D0637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044EA7-D2A1-4365-907E-C94234D10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72E424-5B27-45CF-A175-E656FAFFC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D5974A-2146-4406-AC28-082CDF344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0EB0CB-8591-427D-81B3-28C9A5D50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83C8C26-4283-418E-8C49-805FEA1A8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DD8C62-E8F1-4831-8389-38F19D0FD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AAC3FB5-B48B-451D-B32B-3B42B5BBE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027A57-EB6A-4B0E-81EA-C6AFB1A65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6B804A6-D542-41FF-B5EA-CD072098C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CCD7A86-A1D6-4C4C-B050-53F040BA9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91B5046-05A8-4242-AD8D-D8528BCD6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BE6A19D-0EC6-452B-8210-68D810735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86ED8C5-86AD-4A72-AC7F-1AA018199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148FDB1-9A94-439B-B8A0-ACECBF84A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EC9DF5A-AE3C-4938-B4B2-5F1D68C72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3F0DD1A-3A58-47F2-97B2-D5760A5A2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C7F9AC-438D-4C70-A047-3D045FBBE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06FE69-2368-4440-AC0A-3799FE80A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CDD022-B1FE-4523-BB50-1585CC8F00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3C2056-5AA4-4488-AEF0-6AF4C418F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B585E7-8101-45A8-AD02-57F23B4A8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050426-2AD5-43AB-92D7-F84B25CC1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1BDA12-EA6D-48D6-9D78-F64888DB0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906CD9E-C760-441B-B131-1AAD7AF6E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63BD984-CEFF-457A-A862-EEF9D66A6A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4558A8F-C157-491D-B6E2-D83BA8782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3755DFC-30F8-4747-AB79-DCFE52A96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1B78878-8ABD-4EC6-9A65-82EDB7AFE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0FB016D-C83E-4BE4-B099-DC71E4084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3F2EAFB-FA9B-472E-9FB1-319DF0DCB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23FB70F-0030-4806-9C88-E8AE79650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7E2756B6-7E81-4A5C-BE8E-1E074D0FD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58331ED-19A8-4E9F-AF6A-78CB9B218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BA3D065-BFF5-40A6-BF52-8904AB89B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032C7E7-7BA5-4286-A4B9-9B7428F3F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B74D9D5-CD6F-4834-BC03-914686AB2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98B6ABB-FD87-4044-933B-7D447AEA1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A54BC2F7-9604-4EA3-887A-478E18D14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11419E19-DA81-4F25-845E-BDF330070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F42BA4F8-8951-42FC-A95A-3B49BFC5F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C5C98A-24E6-4FCE-9F1C-9DE948A68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63E3B9-343E-4A60-985B-F9918E246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ABB58E-3453-43A5-BB63-56245CBCF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1B668C-2211-4835-B5BC-9DA93DFE0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BE1160-E274-4296-BD59-490D1E507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C79F5E-4D40-453F-9C24-3C2D37BDB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AC16D5-99DD-4F71-9566-D71E21B5C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9D172C-566C-4D4B-A7EA-B100317E7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FE3884C-367A-485B-9500-F1274B2D0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909C79D-6C4A-4874-B07D-023398104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D6FEE73-DC1C-4C44-8095-86A1BDA6D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C050769-190B-4F0F-94C2-DE66244CE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27697B3-2F97-4DAF-88A7-2010D8066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6E9A071-27DD-47A7-B212-7741777F7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280CF88-1727-451E-BE45-482F2B608C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C82F097-D767-49E0-B393-F960B61C1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81FE0CC-99C0-4F9C-B7A9-5C375275A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F107D21-74C8-4CF9-8CA3-BBD57D959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ABB1287-B879-4FCC-AACD-48640905A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D0B4549-4BE5-4060-9263-E0609A901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D12AAC3-5506-44BA-B701-00B2B68BF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EBB7D9C8-3100-401E-895E-9D279EA0B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4B18827-AA06-41BC-95B8-F83183FE1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63A6F82-6D08-4A48-8EB3-FE2D3BF44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E9B4C5C4-DC19-4349-9CFF-FB726016D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3273ACE1-7D6B-40F1-9624-6E2221B2E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84C9754-DB29-4636-9696-9AB3C8C94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D57FC6DD-57CC-4736-9EB5-D36F13D6B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31E77819-C84C-4AA4-AC30-207413974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BB592A7D-55B0-4E1A-A828-9E7CD1110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D27A4A9E-0280-442C-A097-C5F938472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EF0BCA03-2920-49DB-B7A9-7FBEB5A8E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2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0/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0/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0/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0/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0/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31.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oleObject" Target="../embeddings/oleObject27.bin"/><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2.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3.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7.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2355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7561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76850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0/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15429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0/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42197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0/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71455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0/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47436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808482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79222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98720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048637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7/2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3716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93238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73124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51420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29123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13835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1786</Words>
  <Application>Microsoft Office PowerPoint</Application>
  <PresentationFormat>On-screen Show (16:9)</PresentationFormat>
  <Paragraphs>652</Paragraphs>
  <Slides>17</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7"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Sector/Segment Leadership Table (Replace with SO WHAT)</vt:lpstr>
      <vt:lpstr>Segment Leadership Analysis (Replace with So What)</vt:lpstr>
      <vt:lpstr>Sectors Leadership Analysis (Replace with So What)</vt:lpstr>
      <vt:lpstr>Avg Price/Vol Comparison (Replace with SO WHAT)</vt:lpstr>
      <vt:lpstr>Shelf Price/Vol Comparison (Replace with SO WHAT)</vt:lpstr>
      <vt:lpstr>Price Point Distribution Analysis by product (Replace with SO WHAT)</vt:lpstr>
      <vt:lpstr>Price Point Comparison Analysis by Product (Replace with SO WHAT)</vt:lpstr>
      <vt:lpstr>Price Point Distribution Analysis by brand (Replace with SO WHAT)</vt:lpstr>
      <vt:lpstr>Price Point Distribution by brand by Sector (Replace with SO WHAT)</vt:lpstr>
      <vt:lpstr>Price Correlation Analysis P3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int Distribution Analysis by product (Replace with SO WHAT)</vt:lpstr>
      <vt:lpstr>Price Point Comparison Analysis by Produc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Yomna ABDULLATIF</cp:lastModifiedBy>
  <cp:revision>42</cp:revision>
  <dcterms:created xsi:type="dcterms:W3CDTF">2024-07-05T14:56:51Z</dcterms:created>
  <dcterms:modified xsi:type="dcterms:W3CDTF">2025-07-20T07:4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